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2192000" cy="6858000"/>
  <p:notesSz cx="6797675" cy="99282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Muresianu" initials="" lastIdx="1" clrIdx="0"/>
  <p:cmAuthor id="2" name="Carole OTT" initials="CO" lastIdx="1" clrIdx="1">
    <p:extLst>
      <p:ext uri="{19B8F6BF-5375-455C-9EA6-DF929625EA0E}">
        <p15:presenceInfo xmlns:p15="http://schemas.microsoft.com/office/powerpoint/2012/main" userId="S::carole.ott@cva-france.fr::37407ef6-2041-4d5d-8a1b-da36c3fcf3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0"/>
    <a:srgbClr val="00677A"/>
    <a:srgbClr val="00A5A5"/>
    <a:srgbClr val="BFBFBF"/>
    <a:srgbClr val="E5F0F1"/>
    <a:srgbClr val="00A2BF"/>
    <a:srgbClr val="CCE1E6"/>
    <a:srgbClr val="DAC3DB"/>
    <a:srgbClr val="D9D9D9"/>
    <a:srgbClr val="19A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BD3E8-CEDA-4816-BB63-0C4E182B5247}" v="17" dt="2025-02-08T17:25:29.253"/>
    <p1510:client id="{BFE18CA8-ABE3-46DC-A44F-6DBD2B49A879}" v="27" dt="2025-02-08T22:27:17.3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70" autoAdjust="0"/>
    <p:restoredTop sz="94353" autoAdjust="0"/>
  </p:normalViewPr>
  <p:slideViewPr>
    <p:cSldViewPr snapToGrid="0">
      <p:cViewPr varScale="1">
        <p:scale>
          <a:sx n="114" d="100"/>
          <a:sy n="114" d="100"/>
        </p:scale>
        <p:origin x="576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402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6/11/relationships/changesInfo" Target="changesInfos/changesInfo1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baut LACOUR" userId="6a2dfaa7-a034-492c-8ab3-6075b02b0563" providerId="ADAL" clId="{BFE18CA8-ABE3-46DC-A44F-6DBD2B49A879}"/>
    <pc:docChg chg="undo custSel addSld delSld modSld delMainMaster modMainMaster">
      <pc:chgData name="Thibaut LACOUR" userId="6a2dfaa7-a034-492c-8ab3-6075b02b0563" providerId="ADAL" clId="{BFE18CA8-ABE3-46DC-A44F-6DBD2B49A879}" dt="2025-02-09T09:33:02.634" v="68" actId="680"/>
      <pc:docMkLst>
        <pc:docMk/>
      </pc:docMkLst>
      <pc:sldChg chg="new">
        <pc:chgData name="Thibaut LACOUR" userId="6a2dfaa7-a034-492c-8ab3-6075b02b0563" providerId="ADAL" clId="{BFE18CA8-ABE3-46DC-A44F-6DBD2B49A879}" dt="2025-02-09T09:33:02.634" v="68" actId="680"/>
        <pc:sldMkLst>
          <pc:docMk/>
          <pc:sldMk cId="385166609" sldId="256"/>
        </pc:sldMkLst>
      </pc:sldChg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1925573118" sldId="256"/>
        </pc:sldMkLst>
      </pc:sldChg>
      <pc:sldChg chg="new del">
        <pc:chgData name="Thibaut LACOUR" userId="6a2dfaa7-a034-492c-8ab3-6075b02b0563" providerId="ADAL" clId="{BFE18CA8-ABE3-46DC-A44F-6DBD2B49A879}" dt="2025-02-09T09:16:16.849" v="65" actId="47"/>
        <pc:sldMkLst>
          <pc:docMk/>
          <pc:sldMk cId="3345113673" sldId="256"/>
        </pc:sldMkLst>
      </pc:sldChg>
      <pc:sldChg chg="new del">
        <pc:chgData name="Thibaut LACOUR" userId="6a2dfaa7-a034-492c-8ab3-6075b02b0563" providerId="ADAL" clId="{BFE18CA8-ABE3-46DC-A44F-6DBD2B49A879}" dt="2025-02-09T09:16:16.874" v="66" actId="47"/>
        <pc:sldMkLst>
          <pc:docMk/>
          <pc:sldMk cId="661585054" sldId="257"/>
        </pc:sldMkLst>
      </pc:sldChg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2611630858" sldId="257"/>
        </pc:sldMkLst>
      </pc:sldChg>
      <pc:sldChg chg="modSp new del mod">
        <pc:chgData name="Thibaut LACOUR" userId="6a2dfaa7-a034-492c-8ab3-6075b02b0563" providerId="ADAL" clId="{BFE18CA8-ABE3-46DC-A44F-6DBD2B49A879}" dt="2025-02-08T19:34:31.726" v="26" actId="47"/>
        <pc:sldMkLst>
          <pc:docMk/>
          <pc:sldMk cId="3181760996" sldId="257"/>
        </pc:sldMkLst>
        <pc:spChg chg="mod">
          <ac:chgData name="Thibaut LACOUR" userId="6a2dfaa7-a034-492c-8ab3-6075b02b0563" providerId="ADAL" clId="{BFE18CA8-ABE3-46DC-A44F-6DBD2B49A879}" dt="2025-02-08T19:33:26.462" v="19" actId="20577"/>
          <ac:spMkLst>
            <pc:docMk/>
            <pc:sldMk cId="3181760996" sldId="257"/>
            <ac:spMk id="2" creationId="{DA288613-A437-0F89-BB14-1DBDE3D6C392}"/>
          </ac:spMkLst>
        </pc:spChg>
        <pc:spChg chg="mod">
          <ac:chgData name="Thibaut LACOUR" userId="6a2dfaa7-a034-492c-8ab3-6075b02b0563" providerId="ADAL" clId="{BFE18CA8-ABE3-46DC-A44F-6DBD2B49A879}" dt="2025-02-08T19:33:28.810" v="21" actId="20577"/>
          <ac:spMkLst>
            <pc:docMk/>
            <pc:sldMk cId="3181760996" sldId="257"/>
            <ac:spMk id="3" creationId="{66C7CFC6-A25B-7D8E-196C-FF0861535C73}"/>
          </ac:spMkLst>
        </pc:spChg>
      </pc:sldChg>
      <pc:sldChg chg="delSp modSp new del mod">
        <pc:chgData name="Thibaut LACOUR" userId="6a2dfaa7-a034-492c-8ab3-6075b02b0563" providerId="ADAL" clId="{BFE18CA8-ABE3-46DC-A44F-6DBD2B49A879}" dt="2025-02-08T19:33:19.246" v="16" actId="47"/>
        <pc:sldMkLst>
          <pc:docMk/>
          <pc:sldMk cId="3901238133" sldId="257"/>
        </pc:sldMkLst>
        <pc:spChg chg="mod">
          <ac:chgData name="Thibaut LACOUR" userId="6a2dfaa7-a034-492c-8ab3-6075b02b0563" providerId="ADAL" clId="{BFE18CA8-ABE3-46DC-A44F-6DBD2B49A879}" dt="2025-02-08T19:31:48.422" v="8" actId="20577"/>
          <ac:spMkLst>
            <pc:docMk/>
            <pc:sldMk cId="3901238133" sldId="257"/>
            <ac:spMk id="2" creationId="{8E8159AE-F1BB-F726-E971-19FA1ECDBF88}"/>
          </ac:spMkLst>
        </pc:spChg>
        <pc:spChg chg="del">
          <ac:chgData name="Thibaut LACOUR" userId="6a2dfaa7-a034-492c-8ab3-6075b02b0563" providerId="ADAL" clId="{BFE18CA8-ABE3-46DC-A44F-6DBD2B49A879}" dt="2025-02-08T18:00:30.310" v="2" actId="478"/>
          <ac:spMkLst>
            <pc:docMk/>
            <pc:sldMk cId="3901238133" sldId="257"/>
            <ac:spMk id="3" creationId="{0D91EC63-5565-3C41-9102-AA478B6918AE}"/>
          </ac:spMkLst>
        </pc:spChg>
      </pc:sldChg>
      <pc:sldChg chg="new del">
        <pc:chgData name="Thibaut LACOUR" userId="6a2dfaa7-a034-492c-8ab3-6075b02b0563" providerId="ADAL" clId="{BFE18CA8-ABE3-46DC-A44F-6DBD2B49A879}" dt="2025-02-08T18:00:42.130" v="4" actId="47"/>
        <pc:sldMkLst>
          <pc:docMk/>
          <pc:sldMk cId="110992861" sldId="258"/>
        </pc:sldMkLst>
      </pc:sldChg>
      <pc:sldMasterChg chg="delSp modSp mod modSldLayout">
        <pc:chgData name="Thibaut LACOUR" userId="6a2dfaa7-a034-492c-8ab3-6075b02b0563" providerId="ADAL" clId="{BFE18CA8-ABE3-46DC-A44F-6DBD2B49A879}" dt="2025-02-09T09:23:03.804" v="67" actId="478"/>
        <pc:sldMasterMkLst>
          <pc:docMk/>
          <pc:sldMasterMk cId="1729640548" sldId="2147483743"/>
        </pc:sldMasterMkLst>
        <pc:spChg chg="del">
          <ac:chgData name="Thibaut LACOUR" userId="6a2dfaa7-a034-492c-8ab3-6075b02b0563" providerId="ADAL" clId="{BFE18CA8-ABE3-46DC-A44F-6DBD2B49A879}" dt="2025-02-08T21:16:58.597" v="53" actId="478"/>
          <ac:spMkLst>
            <pc:docMk/>
            <pc:sldMasterMk cId="1729640548" sldId="2147483743"/>
            <ac:spMk id="4" creationId="{9642F0E9-65E1-164C-9F43-1A5CF3F4011B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5" creationId="{E4643F7A-3A98-81C4-A7E7-BF095AD94B98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8" creationId="{8D96C204-36DE-4F4F-6644-0C24AA45EAA3}"/>
          </ac:spMkLst>
        </pc:spChg>
        <pc:spChg chg="del">
          <ac:chgData name="Thibaut LACOUR" userId="6a2dfaa7-a034-492c-8ab3-6075b02b0563" providerId="ADAL" clId="{BFE18CA8-ABE3-46DC-A44F-6DBD2B49A879}" dt="2025-02-08T19:32:11.430" v="9" actId="21"/>
          <ac:spMkLst>
            <pc:docMk/>
            <pc:sldMasterMk cId="1729640548" sldId="2147483743"/>
            <ac:spMk id="24" creationId="{13872506-6FD5-8495-CE15-BEE9ADB68277}"/>
          </ac:spMkLst>
        </pc:spChg>
        <pc:spChg chg="del">
          <ac:chgData name="Thibaut LACOUR" userId="6a2dfaa7-a034-492c-8ab3-6075b02b0563" providerId="ADAL" clId="{BFE18CA8-ABE3-46DC-A44F-6DBD2B49A879}" dt="2025-02-08T21:17:00.440" v="54" actId="478"/>
          <ac:spMkLst>
            <pc:docMk/>
            <pc:sldMasterMk cId="1729640548" sldId="2147483743"/>
            <ac:spMk id="25" creationId="{FD4F1BA7-9660-44EE-8598-CA6141B43091}"/>
          </ac:spMkLst>
        </pc:spChg>
        <pc:sldLayoutChg chg="addSp delSp modSp mod">
          <pc:chgData name="Thibaut LACOUR" userId="6a2dfaa7-a034-492c-8ab3-6075b02b0563" providerId="ADAL" clId="{BFE18CA8-ABE3-46DC-A44F-6DBD2B49A879}" dt="2025-02-08T22:27:26.075" v="62" actId="478"/>
          <pc:sldLayoutMkLst>
            <pc:docMk/>
            <pc:sldMasterMk cId="1729640548" sldId="2147483743"/>
            <pc:sldLayoutMk cId="4219766971" sldId="2147483744"/>
          </pc:sldLayoutMkLst>
          <pc:spChg chg="add del">
            <ac:chgData name="Thibaut LACOUR" userId="6a2dfaa7-a034-492c-8ab3-6075b02b0563" providerId="ADAL" clId="{BFE18CA8-ABE3-46DC-A44F-6DBD2B49A879}" dt="2025-02-08T22:27:00.789" v="55" actId="11529"/>
            <ac:spMkLst>
              <pc:docMk/>
              <pc:sldMasterMk cId="1729640548" sldId="2147483743"/>
              <pc:sldLayoutMk cId="4219766971" sldId="2147483744"/>
              <ac:spMk id="5" creationId="{6B39D6D8-27EC-34C6-7C2D-1EB58A319931}"/>
            </ac:spMkLst>
          </pc:spChg>
          <pc:spChg chg="add del mod">
            <ac:chgData name="Thibaut LACOUR" userId="6a2dfaa7-a034-492c-8ab3-6075b02b0563" providerId="ADAL" clId="{BFE18CA8-ABE3-46DC-A44F-6DBD2B49A879}" dt="2025-02-08T22:27:03.651" v="56" actId="478"/>
            <ac:spMkLst>
              <pc:docMk/>
              <pc:sldMasterMk cId="1729640548" sldId="2147483743"/>
              <pc:sldLayoutMk cId="4219766971" sldId="2147483744"/>
              <ac:spMk id="7" creationId="{C6AA7085-2856-338B-6E3E-8A565CFDF14A}"/>
            </ac:spMkLst>
          </pc:spChg>
          <pc:spChg chg="add del mod">
            <ac:chgData name="Thibaut LACOUR" userId="6a2dfaa7-a034-492c-8ab3-6075b02b0563" providerId="ADAL" clId="{BFE18CA8-ABE3-46DC-A44F-6DBD2B49A879}" dt="2025-02-08T22:27:26.075" v="62" actId="478"/>
            <ac:spMkLst>
              <pc:docMk/>
              <pc:sldMasterMk cId="1729640548" sldId="2147483743"/>
              <pc:sldLayoutMk cId="4219766971" sldId="2147483744"/>
              <ac:spMk id="8" creationId="{5A6ACAC3-43D2-74D3-C383-6F5D5775C047}"/>
            </ac:spMkLst>
          </pc:spChg>
        </pc:sldLayoutChg>
        <pc:sldLayoutChg chg="addSp delSp modSp mod">
          <pc:chgData name="Thibaut LACOUR" userId="6a2dfaa7-a034-492c-8ab3-6075b02b0563" providerId="ADAL" clId="{BFE18CA8-ABE3-46DC-A44F-6DBD2B49A879}" dt="2025-02-09T09:23:03.804" v="67" actId="478"/>
          <pc:sldLayoutMkLst>
            <pc:docMk/>
            <pc:sldMasterMk cId="1729640548" sldId="2147483743"/>
            <pc:sldLayoutMk cId="1283340809" sldId="2147483746"/>
          </pc:sldLayoutMkLst>
          <pc:spChg chg="add del">
            <ac:chgData name="Thibaut LACOUR" userId="6a2dfaa7-a034-492c-8ab3-6075b02b0563" providerId="ADAL" clId="{BFE18CA8-ABE3-46DC-A44F-6DBD2B49A879}" dt="2025-02-09T09:23:03.804" v="67" actId="478"/>
            <ac:spMkLst>
              <pc:docMk/>
              <pc:sldMasterMk cId="1729640548" sldId="2147483743"/>
              <pc:sldLayoutMk cId="1283340809" sldId="2147483746"/>
              <ac:spMk id="3" creationId="{DF459597-9BF0-4889-A178-BA87A653CA81}"/>
            </ac:spMkLst>
          </pc:spChg>
          <pc:spChg chg="add del mod">
            <ac:chgData name="Thibaut LACOUR" userId="6a2dfaa7-a034-492c-8ab3-6075b02b0563" providerId="ADAL" clId="{BFE18CA8-ABE3-46DC-A44F-6DBD2B49A879}" dt="2025-02-08T19:35:56.087" v="30" actId="478"/>
            <ac:spMkLst>
              <pc:docMk/>
              <pc:sldMasterMk cId="1729640548" sldId="2147483743"/>
              <pc:sldLayoutMk cId="1283340809" sldId="2147483746"/>
              <ac:spMk id="6" creationId="{A4A4C3B9-EC9D-8CD7-45F5-B180DB7AB3EB}"/>
            </ac:spMkLst>
          </pc:spChg>
          <pc:spChg chg="add del">
            <ac:chgData name="Thibaut LACOUR" userId="6a2dfaa7-a034-492c-8ab3-6075b02b0563" providerId="ADAL" clId="{BFE18CA8-ABE3-46DC-A44F-6DBD2B49A879}" dt="2025-02-08T19:36:32.340" v="31" actId="11529"/>
            <ac:spMkLst>
              <pc:docMk/>
              <pc:sldMasterMk cId="1729640548" sldId="2147483743"/>
              <pc:sldLayoutMk cId="1283340809" sldId="2147483746"/>
              <ac:spMk id="7" creationId="{917B10DF-5AD1-B277-4903-D1AA0710034B}"/>
            </ac:spMkLst>
          </pc:spChg>
          <pc:spChg chg="add del mod">
            <ac:chgData name="Thibaut LACOUR" userId="6a2dfaa7-a034-492c-8ab3-6075b02b0563" providerId="ADAL" clId="{BFE18CA8-ABE3-46DC-A44F-6DBD2B49A879}" dt="2025-02-08T19:36:36.019" v="32" actId="478"/>
            <ac:spMkLst>
              <pc:docMk/>
              <pc:sldMasterMk cId="1729640548" sldId="2147483743"/>
              <pc:sldLayoutMk cId="1283340809" sldId="2147483746"/>
              <ac:spMk id="9" creationId="{3C9771EE-0D5A-5B94-7D5F-B5ABC1169821}"/>
            </ac:spMkLst>
          </pc:spChg>
          <pc:spChg chg="add del mod">
            <ac:chgData name="Thibaut LACOUR" userId="6a2dfaa7-a034-492c-8ab3-6075b02b0563" providerId="ADAL" clId="{BFE18CA8-ABE3-46DC-A44F-6DBD2B49A879}" dt="2025-02-08T19:37:51.165" v="35" actId="478"/>
            <ac:spMkLst>
              <pc:docMk/>
              <pc:sldMasterMk cId="1729640548" sldId="2147483743"/>
              <pc:sldLayoutMk cId="1283340809" sldId="2147483746"/>
              <ac:spMk id="10" creationId="{7C6F4EB2-F7EA-AF26-1D2A-8892521B15CC}"/>
            </ac:spMkLst>
          </pc:spChg>
          <pc:spChg chg="add mod">
            <ac:chgData name="Thibaut LACOUR" userId="6a2dfaa7-a034-492c-8ab3-6075b02b0563" providerId="ADAL" clId="{BFE18CA8-ABE3-46DC-A44F-6DBD2B49A879}" dt="2025-02-08T19:38:05.352" v="39"/>
            <ac:spMkLst>
              <pc:docMk/>
              <pc:sldMasterMk cId="1729640548" sldId="2147483743"/>
              <pc:sldLayoutMk cId="1283340809" sldId="2147483746"/>
              <ac:spMk id="11" creationId="{6C9C3CA4-86DC-BEDB-3595-AF75D01B11DF}"/>
            </ac:spMkLst>
          </pc:spChg>
          <pc:spChg chg="add mod">
            <ac:chgData name="Thibaut LACOUR" userId="6a2dfaa7-a034-492c-8ab3-6075b02b0563" providerId="ADAL" clId="{BFE18CA8-ABE3-46DC-A44F-6DBD2B49A879}" dt="2025-02-08T19:38:05.368" v="40"/>
            <ac:spMkLst>
              <pc:docMk/>
              <pc:sldMasterMk cId="1729640548" sldId="2147483743"/>
              <pc:sldLayoutMk cId="1283340809" sldId="2147483746"/>
              <ac:spMk id="12" creationId="{49033C4C-06B9-FCFC-2268-6C0871D8C3C7}"/>
            </ac:spMkLst>
          </pc:spChg>
          <pc:spChg chg="add del mod">
            <ac:chgData name="Thibaut LACOUR" userId="6a2dfaa7-a034-492c-8ab3-6075b02b0563" providerId="ADAL" clId="{BFE18CA8-ABE3-46DC-A44F-6DBD2B49A879}" dt="2025-02-09T09:23:03.804" v="67" actId="478"/>
            <ac:spMkLst>
              <pc:docMk/>
              <pc:sldMasterMk cId="1729640548" sldId="2147483743"/>
              <pc:sldLayoutMk cId="1283340809" sldId="2147483746"/>
              <ac:spMk id="13" creationId="{20489C48-C57A-C4E5-B610-9251A99512A9}"/>
            </ac:spMkLst>
          </pc:spChg>
          <pc:spChg chg="del">
            <ac:chgData name="Thibaut LACOUR" userId="6a2dfaa7-a034-492c-8ab3-6075b02b0563" providerId="ADAL" clId="{BFE18CA8-ABE3-46DC-A44F-6DBD2B49A879}" dt="2025-02-09T09:23:03.804" v="67" actId="478"/>
            <ac:spMkLst>
              <pc:docMk/>
              <pc:sldMasterMk cId="1729640548" sldId="2147483743"/>
              <pc:sldLayoutMk cId="1283340809" sldId="2147483746"/>
              <ac:spMk id="19" creationId="{5468F303-6CEF-71A7-1D1A-430B5EFEEC76}"/>
            </ac:spMkLst>
          </pc:spChg>
          <pc:spChg chg="add del mod">
            <ac:chgData name="Thibaut LACOUR" userId="6a2dfaa7-a034-492c-8ab3-6075b02b0563" providerId="ADAL" clId="{BFE18CA8-ABE3-46DC-A44F-6DBD2B49A879}" dt="2025-02-08T19:33:55.227" v="22" actId="478"/>
            <ac:spMkLst>
              <pc:docMk/>
              <pc:sldMasterMk cId="1729640548" sldId="2147483743"/>
              <pc:sldLayoutMk cId="1283340809" sldId="2147483746"/>
              <ac:spMk id="24" creationId="{13872506-6FD5-8495-CE15-BEE9ADB68277}"/>
            </ac:spMkLst>
          </pc:spChg>
        </pc:sldLayoutChg>
      </pc:sldMasterChg>
      <pc:sldMasterChg chg="del">
        <pc:chgData name="Thibaut LACOUR" userId="6a2dfaa7-a034-492c-8ab3-6075b02b0563" providerId="ADAL" clId="{BFE18CA8-ABE3-46DC-A44F-6DBD2B49A879}" dt="2025-02-08T19:40:37.093" v="51" actId="2696"/>
        <pc:sldMasterMkLst>
          <pc:docMk/>
          <pc:sldMasterMk cId="32924292" sldId="2147483747"/>
        </pc:sldMasterMkLst>
      </pc:sldMasterChg>
    </pc:docChg>
  </pc:docChgLst>
  <pc:docChgLst>
    <pc:chgData name="Thibaut LACOUR" userId="6a2dfaa7-a034-492c-8ab3-6075b02b0563" providerId="ADAL" clId="{216BD3E8-CEDA-4816-BB63-0C4E182B5247}"/>
    <pc:docChg chg="custSel delSld modSld modMainMaster">
      <pc:chgData name="Thibaut LACOUR" userId="6a2dfaa7-a034-492c-8ab3-6075b02b0563" providerId="ADAL" clId="{216BD3E8-CEDA-4816-BB63-0C4E182B5247}" dt="2025-02-08T17:25:34.950" v="21" actId="478"/>
      <pc:docMkLst>
        <pc:docMk/>
      </pc:docMkLst>
      <pc:sldChg chg="modSp del">
        <pc:chgData name="Thibaut LACOUR" userId="6a2dfaa7-a034-492c-8ab3-6075b02b0563" providerId="ADAL" clId="{216BD3E8-CEDA-4816-BB63-0C4E182B5247}" dt="2025-02-08T17:23:27.889" v="7" actId="2696"/>
        <pc:sldMkLst>
          <pc:docMk/>
          <pc:sldMk cId="2147047390" sldId="8423"/>
        </pc:sldMkLst>
        <pc:spChg chg="mod">
          <ac:chgData name="Thibaut LACOUR" userId="6a2dfaa7-a034-492c-8ab3-6075b02b0563" providerId="ADAL" clId="{216BD3E8-CEDA-4816-BB63-0C4E182B5247}" dt="2025-02-08T17:23:24.377" v="6" actId="6549"/>
          <ac:spMkLst>
            <pc:docMk/>
            <pc:sldMk cId="2147047390" sldId="8423"/>
            <ac:spMk id="2" creationId="{54106AF7-D25D-4EA5-AF73-010A7E07CB49}"/>
          </ac:spMkLst>
        </pc:spChg>
      </pc:sldChg>
      <pc:sldChg chg="del">
        <pc:chgData name="Thibaut LACOUR" userId="6a2dfaa7-a034-492c-8ab3-6075b02b0563" providerId="ADAL" clId="{216BD3E8-CEDA-4816-BB63-0C4E182B5247}" dt="2025-02-08T17:23:21.172" v="3" actId="2696"/>
        <pc:sldMkLst>
          <pc:docMk/>
          <pc:sldMk cId="1010212498" sldId="2147474516"/>
        </pc:sldMkLst>
      </pc:sldChg>
      <pc:sldChg chg="del">
        <pc:chgData name="Thibaut LACOUR" userId="6a2dfaa7-a034-492c-8ab3-6075b02b0563" providerId="ADAL" clId="{216BD3E8-CEDA-4816-BB63-0C4E182B5247}" dt="2025-02-08T17:23:16.508" v="0" actId="2696"/>
        <pc:sldMkLst>
          <pc:docMk/>
          <pc:sldMk cId="627004499" sldId="2147474544"/>
        </pc:sldMkLst>
      </pc:sldChg>
      <pc:sldMasterChg chg="addSp delSp modSp mod modSldLayout">
        <pc:chgData name="Thibaut LACOUR" userId="6a2dfaa7-a034-492c-8ab3-6075b02b0563" providerId="ADAL" clId="{216BD3E8-CEDA-4816-BB63-0C4E182B5247}" dt="2025-02-08T17:25:34.950" v="21" actId="478"/>
        <pc:sldMasterMkLst>
          <pc:docMk/>
          <pc:sldMasterMk cId="1729640548" sldId="2147483743"/>
        </pc:sldMasterMkLst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5" creationId="{E4643F7A-3A98-81C4-A7E7-BF095AD94B98}"/>
          </ac:spMkLst>
        </pc:spChg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8" creationId="{8D96C204-36DE-4F4F-6644-0C24AA45EAA3}"/>
          </ac:spMkLst>
        </pc:spChg>
        <pc:spChg chg="add mod">
          <ac:chgData name="Thibaut LACOUR" userId="6a2dfaa7-a034-492c-8ab3-6075b02b0563" providerId="ADAL" clId="{216BD3E8-CEDA-4816-BB63-0C4E182B5247}" dt="2025-02-08T17:25:23.818" v="18" actId="242"/>
          <ac:spMkLst>
            <pc:docMk/>
            <pc:sldMasterMk cId="1729640548" sldId="2147483743"/>
            <ac:spMk id="24" creationId="{13872506-6FD5-8495-CE15-BEE9ADB68277}"/>
          </ac:spMkLst>
        </pc:spChg>
        <pc:spChg chg="add mod">
          <ac:chgData name="Thibaut LACOUR" userId="6a2dfaa7-a034-492c-8ab3-6075b02b0563" providerId="ADAL" clId="{216BD3E8-CEDA-4816-BB63-0C4E182B5247}" dt="2025-02-08T17:25:11.979" v="14"/>
          <ac:spMkLst>
            <pc:docMk/>
            <pc:sldMasterMk cId="1729640548" sldId="2147483743"/>
            <ac:spMk id="25" creationId="{FD4F1BA7-9660-44EE-8598-CA6141B43091}"/>
          </ac:spMkLst>
        </pc:spChg>
        <pc:spChg chg="mod">
          <ac:chgData name="Thibaut LACOUR" userId="6a2dfaa7-a034-492c-8ab3-6075b02b0563" providerId="ADAL" clId="{216BD3E8-CEDA-4816-BB63-0C4E182B5247}" dt="2025-02-08T17:25:16.518" v="17" actId="20577"/>
          <ac:spMkLst>
            <pc:docMk/>
            <pc:sldMasterMk cId="1729640548" sldId="2147483743"/>
            <ac:spMk id="1026" creationId="{9E793952-999D-4219-A609-85325681D34B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8" creationId="{9E312E19-5C7B-46C2-9FBF-D74169CA0C6A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9" creationId="{2024B798-0285-4353-B741-0372366C7F36}"/>
          </ac:spMkLst>
        </pc:spChg>
        <pc:sldLayoutChg chg="delSp">
          <pc:chgData name="Thibaut LACOUR" userId="6a2dfaa7-a034-492c-8ab3-6075b02b0563" providerId="ADAL" clId="{216BD3E8-CEDA-4816-BB63-0C4E182B5247}" dt="2025-02-08T17:24:02.768" v="8" actId="478"/>
          <pc:sldLayoutMkLst>
            <pc:docMk/>
            <pc:sldMasterMk cId="1729640548" sldId="2147483743"/>
            <pc:sldLayoutMk cId="4219766971" sldId="2147483744"/>
          </pc:sldLayoutMkLst>
          <pc:spChg chg="del">
            <ac:chgData name="Thibaut LACOUR" userId="6a2dfaa7-a034-492c-8ab3-6075b02b0563" providerId="ADAL" clId="{216BD3E8-CEDA-4816-BB63-0C4E182B5247}" dt="2025-02-08T17:24:02.768" v="8" actId="478"/>
            <ac:spMkLst>
              <pc:docMk/>
              <pc:sldMasterMk cId="1729640548" sldId="2147483743"/>
              <pc:sldLayoutMk cId="4219766971" sldId="2147483744"/>
              <ac:spMk id="8" creationId="{761F4A27-5941-6154-08C4-7405CBA49A12}"/>
            </ac:spMkLst>
          </pc:spChg>
        </pc:sldLayoutChg>
        <pc:sldLayoutChg chg="delSp modSp mod">
          <pc:chgData name="Thibaut LACOUR" userId="6a2dfaa7-a034-492c-8ab3-6075b02b0563" providerId="ADAL" clId="{216BD3E8-CEDA-4816-BB63-0C4E182B5247}" dt="2025-02-08T17:25:34.950" v="21" actId="478"/>
          <pc:sldLayoutMkLst>
            <pc:docMk/>
            <pc:sldMasterMk cId="1729640548" sldId="2147483743"/>
            <pc:sldLayoutMk cId="1283340809" sldId="2147483746"/>
          </pc:sldLayoutMkLst>
          <pc:spChg chg="del mod">
            <ac:chgData name="Thibaut LACOUR" userId="6a2dfaa7-a034-492c-8ab3-6075b02b0563" providerId="ADAL" clId="{216BD3E8-CEDA-4816-BB63-0C4E182B5247}" dt="2025-02-08T17:25:34.950" v="21" actId="478"/>
            <ac:spMkLst>
              <pc:docMk/>
              <pc:sldMasterMk cId="1729640548" sldId="2147483743"/>
              <pc:sldLayoutMk cId="1283340809" sldId="2147483746"/>
              <ac:spMk id="7" creationId="{AABE14D9-C829-A1CF-03BF-0A64BABECE09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E3B5732-DD8F-F4AF-5E3D-340FBA1244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CE2868A-CB19-0069-504C-F07ED95821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220819-85A6-4F69-867D-ABDE86F6BC21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E840403-2A52-3A50-2DF4-D1F20F4AC5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F2A8D1-FD43-3035-D795-4218961364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7B837-A316-48E3-8BCC-2133972FED4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4983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367A5-4564-46EE-A52B-D903700339FF}" type="datetimeFigureOut">
              <a:rPr lang="fr-FR" smtClean="0"/>
              <a:t>09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E75-7644-4BF4-8B11-585C15A150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9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BEA56-0270-41F3-8DAC-582684CDE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22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BEA56-0270-41F3-8DAC-582684CDE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C7FF30-32B3-4DBB-A7BD-19586C56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D2E204D3-CCDB-D2F7-3640-8D0D239347DF}"/>
              </a:ext>
            </a:extLst>
          </p:cNvPr>
          <p:cNvSpPr/>
          <p:nvPr userDrawn="1"/>
        </p:nvSpPr>
        <p:spPr>
          <a:xfrm>
            <a:off x="550863" y="441324"/>
            <a:ext cx="720000" cy="45719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9E04B3-85A5-F5FB-D0CB-43F97B09D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35C18-05E7-0E1F-9208-9896B27D8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750" b="0">
                <a:solidFill>
                  <a:srgbClr val="7F7F7F"/>
                </a:solidFill>
              </a:defRPr>
            </a:lvl1pPr>
          </a:lstStyle>
          <a:p>
            <a:pPr lvl="0"/>
            <a:r>
              <a:rPr lang="fr-FR"/>
              <a:t>Note(s): (1)…</a:t>
            </a:r>
          </a:p>
          <a:p>
            <a:pPr lvl="0"/>
            <a:r>
              <a:rPr lang="fr-FR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283340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B35335-CF1A-4E78-BEA2-6D2D4C685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16559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B35335-CF1A-4E78-BEA2-6D2D4C68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g object 16">
            <a:extLst>
              <a:ext uri="{FF2B5EF4-FFF2-40B4-BE49-F238E27FC236}">
                <a16:creationId xmlns:a16="http://schemas.microsoft.com/office/drawing/2014/main" id="{398A11E6-E6FD-6612-E0EE-4D391C219553}"/>
              </a:ext>
            </a:extLst>
          </p:cNvPr>
          <p:cNvSpPr/>
          <p:nvPr userDrawn="1"/>
        </p:nvSpPr>
        <p:spPr>
          <a:xfrm>
            <a:off x="10820400" y="6520551"/>
            <a:ext cx="527117" cy="190423"/>
          </a:xfrm>
          <a:custGeom>
            <a:avLst/>
            <a:gdLst/>
            <a:ahLst/>
            <a:cxnLst/>
            <a:rect l="l" t="t" r="r" b="b"/>
            <a:pathLst>
              <a:path w="734694" h="265429">
                <a:moveTo>
                  <a:pt x="232638" y="178981"/>
                </a:moveTo>
                <a:lnTo>
                  <a:pt x="221284" y="174853"/>
                </a:lnTo>
                <a:lnTo>
                  <a:pt x="207899" y="205613"/>
                </a:lnTo>
                <a:lnTo>
                  <a:pt x="190017" y="229019"/>
                </a:lnTo>
                <a:lnTo>
                  <a:pt x="166230" y="243916"/>
                </a:lnTo>
                <a:lnTo>
                  <a:pt x="135140" y="249135"/>
                </a:lnTo>
                <a:lnTo>
                  <a:pt x="92748" y="236651"/>
                </a:lnTo>
                <a:lnTo>
                  <a:pt x="69900" y="206133"/>
                </a:lnTo>
                <a:lnTo>
                  <a:pt x="60579" y="167970"/>
                </a:lnTo>
                <a:lnTo>
                  <a:pt x="58813" y="132562"/>
                </a:lnTo>
                <a:lnTo>
                  <a:pt x="61861" y="85356"/>
                </a:lnTo>
                <a:lnTo>
                  <a:pt x="72415" y="47383"/>
                </a:lnTo>
                <a:lnTo>
                  <a:pt x="92532" y="22085"/>
                </a:lnTo>
                <a:lnTo>
                  <a:pt x="124320" y="12890"/>
                </a:lnTo>
                <a:lnTo>
                  <a:pt x="145542" y="15913"/>
                </a:lnTo>
                <a:lnTo>
                  <a:pt x="173837" y="57772"/>
                </a:lnTo>
                <a:lnTo>
                  <a:pt x="172808" y="67056"/>
                </a:lnTo>
                <a:lnTo>
                  <a:pt x="172808" y="74282"/>
                </a:lnTo>
                <a:lnTo>
                  <a:pt x="208876" y="99568"/>
                </a:lnTo>
                <a:lnTo>
                  <a:pt x="225412" y="72732"/>
                </a:lnTo>
                <a:lnTo>
                  <a:pt x="216281" y="42646"/>
                </a:lnTo>
                <a:lnTo>
                  <a:pt x="192595" y="19723"/>
                </a:lnTo>
                <a:lnTo>
                  <a:pt x="159918" y="5118"/>
                </a:lnTo>
                <a:lnTo>
                  <a:pt x="123799" y="0"/>
                </a:lnTo>
                <a:lnTo>
                  <a:pt x="73990" y="10414"/>
                </a:lnTo>
                <a:lnTo>
                  <a:pt x="34823" y="38811"/>
                </a:lnTo>
                <a:lnTo>
                  <a:pt x="9194" y="80949"/>
                </a:lnTo>
                <a:lnTo>
                  <a:pt x="0" y="132562"/>
                </a:lnTo>
                <a:lnTo>
                  <a:pt x="8191" y="182651"/>
                </a:lnTo>
                <a:lnTo>
                  <a:pt x="31864" y="224955"/>
                </a:lnTo>
                <a:lnTo>
                  <a:pt x="69646" y="254203"/>
                </a:lnTo>
                <a:lnTo>
                  <a:pt x="120192" y="265125"/>
                </a:lnTo>
                <a:lnTo>
                  <a:pt x="154152" y="261239"/>
                </a:lnTo>
                <a:lnTo>
                  <a:pt x="184924" y="247586"/>
                </a:lnTo>
                <a:lnTo>
                  <a:pt x="211442" y="221170"/>
                </a:lnTo>
                <a:lnTo>
                  <a:pt x="232638" y="178981"/>
                </a:lnTo>
                <a:close/>
              </a:path>
              <a:path w="734694" h="265429">
                <a:moveTo>
                  <a:pt x="508444" y="6184"/>
                </a:moveTo>
                <a:lnTo>
                  <a:pt x="403720" y="6184"/>
                </a:lnTo>
                <a:lnTo>
                  <a:pt x="403720" y="19088"/>
                </a:lnTo>
                <a:lnTo>
                  <a:pt x="453758" y="19088"/>
                </a:lnTo>
                <a:lnTo>
                  <a:pt x="387223" y="191363"/>
                </a:lnTo>
                <a:lnTo>
                  <a:pt x="323773" y="19088"/>
                </a:lnTo>
                <a:lnTo>
                  <a:pt x="370713" y="19088"/>
                </a:lnTo>
                <a:lnTo>
                  <a:pt x="370713" y="6184"/>
                </a:lnTo>
                <a:lnTo>
                  <a:pt x="225259" y="6184"/>
                </a:lnTo>
                <a:lnTo>
                  <a:pt x="225259" y="19088"/>
                </a:lnTo>
                <a:lnTo>
                  <a:pt x="264464" y="19088"/>
                </a:lnTo>
                <a:lnTo>
                  <a:pt x="360400" y="262039"/>
                </a:lnTo>
                <a:lnTo>
                  <a:pt x="374840" y="262039"/>
                </a:lnTo>
                <a:lnTo>
                  <a:pt x="471297" y="19088"/>
                </a:lnTo>
                <a:lnTo>
                  <a:pt x="508444" y="19088"/>
                </a:lnTo>
                <a:lnTo>
                  <a:pt x="508444" y="6184"/>
                </a:lnTo>
                <a:close/>
              </a:path>
              <a:path w="734694" h="265429">
                <a:moveTo>
                  <a:pt x="734237" y="248856"/>
                </a:moveTo>
                <a:lnTo>
                  <a:pt x="695032" y="248856"/>
                </a:lnTo>
                <a:lnTo>
                  <a:pt x="599097" y="5918"/>
                </a:lnTo>
                <a:lnTo>
                  <a:pt x="584657" y="5918"/>
                </a:lnTo>
                <a:lnTo>
                  <a:pt x="488200" y="248856"/>
                </a:lnTo>
                <a:lnTo>
                  <a:pt x="451053" y="248856"/>
                </a:lnTo>
                <a:lnTo>
                  <a:pt x="451053" y="261759"/>
                </a:lnTo>
                <a:lnTo>
                  <a:pt x="555777" y="261759"/>
                </a:lnTo>
                <a:lnTo>
                  <a:pt x="555777" y="248856"/>
                </a:lnTo>
                <a:lnTo>
                  <a:pt x="505739" y="248856"/>
                </a:lnTo>
                <a:lnTo>
                  <a:pt x="572274" y="76581"/>
                </a:lnTo>
                <a:lnTo>
                  <a:pt x="635723" y="248856"/>
                </a:lnTo>
                <a:lnTo>
                  <a:pt x="588784" y="248856"/>
                </a:lnTo>
                <a:lnTo>
                  <a:pt x="588784" y="261759"/>
                </a:lnTo>
                <a:lnTo>
                  <a:pt x="734237" y="261759"/>
                </a:lnTo>
                <a:lnTo>
                  <a:pt x="734237" y="2488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5541B6-9106-4BE8-BA1B-AE3B8699EBB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" y="0"/>
            <a:ext cx="195385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Disclaimer">
            <a:extLst>
              <a:ext uri="{FF2B5EF4-FFF2-40B4-BE49-F238E27FC236}">
                <a16:creationId xmlns:a16="http://schemas.microsoft.com/office/drawing/2014/main" id="{9E793952-999D-4219-A609-85325681D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09" y="6500346"/>
            <a:ext cx="152285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© Corporate Value Associates 2025</a:t>
            </a:r>
          </a:p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F71BA-D36E-731D-91D8-06201A614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8D1D492-167E-4836-90FF-449AFC164C33}"/>
              </a:ext>
            </a:extLst>
          </p:cNvPr>
          <p:cNvSpPr/>
          <p:nvPr userDrawn="1"/>
        </p:nvSpPr>
        <p:spPr>
          <a:xfrm flipV="1">
            <a:off x="-18348" y="6822000"/>
            <a:ext cx="12240000" cy="36000"/>
          </a:xfrm>
          <a:custGeom>
            <a:avLst/>
            <a:gdLst/>
            <a:ahLst/>
            <a:cxnLst/>
            <a:rect l="l" t="t" r="r" b="b"/>
            <a:pathLst>
              <a:path w="20104100" h="62865">
                <a:moveTo>
                  <a:pt x="0" y="62825"/>
                </a:moveTo>
                <a:lnTo>
                  <a:pt x="20104099" y="62825"/>
                </a:lnTo>
                <a:lnTo>
                  <a:pt x="20104099" y="0"/>
                </a:lnTo>
                <a:lnTo>
                  <a:pt x="0" y="0"/>
                </a:lnTo>
                <a:lnTo>
                  <a:pt x="0" y="62825"/>
                </a:lnTo>
                <a:close/>
              </a:path>
            </a:pathLst>
          </a:custGeom>
          <a:solidFill>
            <a:srgbClr val="172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8CC67E-6479-A3B5-3D34-E1ED4805DDA4}"/>
              </a:ext>
            </a:extLst>
          </p:cNvPr>
          <p:cNvSpPr/>
          <p:nvPr userDrawn="1"/>
        </p:nvSpPr>
        <p:spPr bwMode="auto">
          <a:xfrm>
            <a:off x="12315106" y="187779"/>
            <a:ext cx="892562" cy="241228"/>
          </a:xfrm>
          <a:prstGeom prst="rect">
            <a:avLst/>
          </a:prstGeom>
          <a:solidFill>
            <a:srgbClr val="1D1D1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#1D1D1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1E7965-D11D-4A2F-5A4B-63130E580471}"/>
              </a:ext>
            </a:extLst>
          </p:cNvPr>
          <p:cNvSpPr/>
          <p:nvPr userDrawn="1"/>
        </p:nvSpPr>
        <p:spPr bwMode="auto">
          <a:xfrm>
            <a:off x="12315106" y="511824"/>
            <a:ext cx="892562" cy="2413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FFFF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6620A3-E25D-755E-AB63-9E80E52DF9D1}"/>
              </a:ext>
            </a:extLst>
          </p:cNvPr>
          <p:cNvSpPr/>
          <p:nvPr userDrawn="1"/>
        </p:nvSpPr>
        <p:spPr bwMode="auto">
          <a:xfrm>
            <a:off x="12315106" y="4436288"/>
            <a:ext cx="892562" cy="241340"/>
          </a:xfrm>
          <a:prstGeom prst="rect">
            <a:avLst/>
          </a:prstGeom>
          <a:solidFill>
            <a:srgbClr val="FA9B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FA9B4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2DAA84-0A73-34E3-3D90-83D69B82B64B}"/>
              </a:ext>
            </a:extLst>
          </p:cNvPr>
          <p:cNvSpPr/>
          <p:nvPr userDrawn="1"/>
        </p:nvSpPr>
        <p:spPr bwMode="auto">
          <a:xfrm>
            <a:off x="12315106" y="1015324"/>
            <a:ext cx="892562" cy="2413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2B4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173CD2-10C9-ECFB-1928-25080BF95882}"/>
              </a:ext>
            </a:extLst>
          </p:cNvPr>
          <p:cNvSpPr/>
          <p:nvPr userDrawn="1"/>
        </p:nvSpPr>
        <p:spPr bwMode="auto">
          <a:xfrm>
            <a:off x="12315106" y="1663648"/>
            <a:ext cx="892562" cy="241340"/>
          </a:xfrm>
          <a:prstGeom prst="rect">
            <a:avLst/>
          </a:prstGeom>
          <a:solidFill>
            <a:srgbClr val="2035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0357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6396BA-2920-53D4-FFF6-4E1B058C5E5C}"/>
              </a:ext>
            </a:extLst>
          </p:cNvPr>
          <p:cNvSpPr/>
          <p:nvPr userDrawn="1"/>
        </p:nvSpPr>
        <p:spPr bwMode="auto">
          <a:xfrm>
            <a:off x="12315106" y="2636134"/>
            <a:ext cx="892562" cy="24134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00A1B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8D91B-5401-730F-8C8D-A2EA3373B7B1}"/>
              </a:ext>
            </a:extLst>
          </p:cNvPr>
          <p:cNvSpPr/>
          <p:nvPr userDrawn="1"/>
        </p:nvSpPr>
        <p:spPr bwMode="auto">
          <a:xfrm>
            <a:off x="12315106" y="1339486"/>
            <a:ext cx="892562" cy="241340"/>
          </a:xfrm>
          <a:prstGeom prst="rect">
            <a:avLst/>
          </a:prstGeom>
          <a:solidFill>
            <a:srgbClr val="17275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7275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22FF6-C81F-0B9B-4453-694CB9BD0D4A}"/>
              </a:ext>
            </a:extLst>
          </p:cNvPr>
          <p:cNvSpPr/>
          <p:nvPr userDrawn="1"/>
        </p:nvSpPr>
        <p:spPr bwMode="auto">
          <a:xfrm>
            <a:off x="12315106" y="1987810"/>
            <a:ext cx="892562" cy="241340"/>
          </a:xfrm>
          <a:prstGeom prst="rect">
            <a:avLst/>
          </a:prstGeom>
          <a:solidFill>
            <a:srgbClr val="1F65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65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1DEDB0-5F94-856A-02D2-AF2C6D675C28}"/>
              </a:ext>
            </a:extLst>
          </p:cNvPr>
          <p:cNvSpPr/>
          <p:nvPr userDrawn="1"/>
        </p:nvSpPr>
        <p:spPr bwMode="auto">
          <a:xfrm>
            <a:off x="12315106" y="2311972"/>
            <a:ext cx="892562" cy="24134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885A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A0709-8620-577A-5CB7-9FD0AE796EB0}"/>
              </a:ext>
            </a:extLst>
          </p:cNvPr>
          <p:cNvSpPr/>
          <p:nvPr userDrawn="1"/>
        </p:nvSpPr>
        <p:spPr bwMode="auto">
          <a:xfrm>
            <a:off x="12315106" y="3284458"/>
            <a:ext cx="892562" cy="241340"/>
          </a:xfrm>
          <a:prstGeom prst="rect">
            <a:avLst/>
          </a:prstGeom>
          <a:solidFill>
            <a:srgbClr val="92A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92ACB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2F223D-A4F7-2726-237A-23EBB77ACF61}"/>
              </a:ext>
            </a:extLst>
          </p:cNvPr>
          <p:cNvSpPr/>
          <p:nvPr userDrawn="1"/>
        </p:nvSpPr>
        <p:spPr bwMode="auto">
          <a:xfrm>
            <a:off x="12315106" y="3608620"/>
            <a:ext cx="892562" cy="241340"/>
          </a:xfrm>
          <a:prstGeom prst="rect">
            <a:avLst/>
          </a:prstGeom>
          <a:solidFill>
            <a:srgbClr val="CCDB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CCDBE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208603-DEEA-52AD-3539-EF06A64F0D49}"/>
              </a:ext>
            </a:extLst>
          </p:cNvPr>
          <p:cNvSpPr/>
          <p:nvPr userDrawn="1"/>
        </p:nvSpPr>
        <p:spPr bwMode="auto">
          <a:xfrm>
            <a:off x="12315106" y="3932782"/>
            <a:ext cx="892562" cy="241340"/>
          </a:xfrm>
          <a:prstGeom prst="rect">
            <a:avLst/>
          </a:prstGeom>
          <a:solidFill>
            <a:srgbClr val="ED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EDF2F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2D7705-C50D-F211-85F6-233C3D55E5B1}"/>
              </a:ext>
            </a:extLst>
          </p:cNvPr>
          <p:cNvSpPr/>
          <p:nvPr userDrawn="1"/>
        </p:nvSpPr>
        <p:spPr bwMode="auto">
          <a:xfrm>
            <a:off x="12315106" y="2960296"/>
            <a:ext cx="892562" cy="241340"/>
          </a:xfrm>
          <a:prstGeom prst="rect">
            <a:avLst/>
          </a:prstGeom>
          <a:solidFill>
            <a:srgbClr val="717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717A7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79423-618B-3621-2B12-FD8B3B131CCF}"/>
              </a:ext>
            </a:extLst>
          </p:cNvPr>
          <p:cNvSpPr/>
          <p:nvPr userDrawn="1"/>
        </p:nvSpPr>
        <p:spPr bwMode="auto">
          <a:xfrm>
            <a:off x="12315106" y="4250361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NT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E8783C-D843-0E7C-B547-A2443C79AF8C}"/>
              </a:ext>
            </a:extLst>
          </p:cNvPr>
          <p:cNvSpPr/>
          <p:nvPr userDrawn="1"/>
        </p:nvSpPr>
        <p:spPr bwMode="auto">
          <a:xfrm>
            <a:off x="12315106" y="829403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CONDARY: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0C42ED-829E-E1F1-DB66-F792FAAC7142}"/>
              </a:ext>
            </a:extLst>
          </p:cNvPr>
          <p:cNvSpPr/>
          <p:nvPr userDrawn="1"/>
        </p:nvSpPr>
        <p:spPr bwMode="auto">
          <a:xfrm>
            <a:off x="12315106" y="3750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MARY:</a:t>
            </a: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08BCA67C-427B-27C0-5BF1-2A36AC11055C}"/>
              </a:ext>
            </a:extLst>
          </p:cNvPr>
          <p:cNvSpPr/>
          <p:nvPr userDrawn="1"/>
        </p:nvSpPr>
        <p:spPr>
          <a:xfrm>
            <a:off x="10732729" y="6541785"/>
            <a:ext cx="0" cy="147955"/>
          </a:xfrm>
          <a:custGeom>
            <a:avLst/>
            <a:gdLst/>
            <a:ahLst/>
            <a:cxnLst/>
            <a:rect l="l" t="t" r="r" b="b"/>
            <a:pathLst>
              <a:path h="147954">
                <a:moveTo>
                  <a:pt x="0" y="0"/>
                </a:moveTo>
                <a:lnTo>
                  <a:pt x="0" y="147943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964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</p:sldLayoutIdLst>
  <p:transition/>
  <p:hf hdr="0" ftr="0" dt="0"/>
  <p:txStyles>
    <p:titleStyle>
      <a:lvl1pPr algn="l" defTabSz="762019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12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23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34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46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0" indent="92075" algn="l" defTabSz="762019" rtl="0" eaLnBrk="0" fontAlgn="base" hangingPunct="0">
        <a:spcBef>
          <a:spcPct val="130000"/>
        </a:spcBef>
        <a:spcAft>
          <a:spcPct val="0"/>
        </a:spcAft>
        <a:buClr>
          <a:schemeClr val="accent2"/>
        </a:buClr>
        <a:buFontTx/>
        <a:buNone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2075" indent="0" algn="l" defTabSz="762019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Tx/>
        <a:buNone/>
        <a:defRPr sz="2000">
          <a:solidFill>
            <a:schemeClr val="tx1"/>
          </a:solidFill>
          <a:latin typeface="+mn-lt"/>
        </a:defRPr>
      </a:lvl2pPr>
      <a:lvl3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600">
          <a:solidFill>
            <a:schemeClr val="tx1"/>
          </a:solidFill>
          <a:latin typeface="+mn-lt"/>
        </a:defRPr>
      </a:lvl3pPr>
      <a:lvl4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300">
          <a:solidFill>
            <a:schemeClr val="tx1"/>
          </a:solidFill>
          <a:latin typeface="+mn-lt"/>
        </a:defRPr>
      </a:lvl4pPr>
      <a:lvl5pPr marL="1431925" indent="-133985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100">
          <a:solidFill>
            <a:schemeClr val="tx1"/>
          </a:solidFill>
          <a:latin typeface="+mn-lt"/>
        </a:defRPr>
      </a:lvl5pPr>
      <a:lvl6pPr marL="2079677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88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100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312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3" pos="740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pos="4951">
          <p15:clr>
            <a:srgbClr val="F26B43"/>
          </p15:clr>
        </p15:guide>
        <p15:guide id="10" pos="5178">
          <p15:clr>
            <a:srgbClr val="F26B43"/>
          </p15:clr>
        </p15:guide>
        <p15:guide id="11" pos="3727">
          <p15:clr>
            <a:srgbClr val="F26B43"/>
          </p15:clr>
        </p15:guide>
        <p15:guide id="12" pos="7333">
          <p15:clr>
            <a:srgbClr val="F26B43"/>
          </p15:clr>
        </p15:guide>
        <p15:guide id="14" pos="2729">
          <p15:clr>
            <a:srgbClr val="F26B43"/>
          </p15:clr>
        </p15:guide>
        <p15:guide id="15" pos="2502">
          <p15:clr>
            <a:srgbClr val="F26B43"/>
          </p15:clr>
        </p15:guide>
        <p15:guide id="16" pos="3940">
          <p15:clr>
            <a:srgbClr val="F26B43"/>
          </p15:clr>
        </p15:guide>
        <p15:guide id="17" pos="347" userDrawn="1">
          <p15:clr>
            <a:srgbClr val="F26B43"/>
          </p15:clr>
        </p15:guide>
        <p15:guide id="18" pos="6289">
          <p15:clr>
            <a:srgbClr val="F26B43"/>
          </p15:clr>
        </p15:guide>
        <p15:guide id="19" orient="horz" pos="100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D550199B-ADA5-5CE0-63E4-081852563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BD90E5-97B5-468D-A9D8-D874F755F478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4FCF19-31E7-850E-EE05-3E6CB9EBB2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6660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91&quot; g=&quot;EE&quot; b=&quot;E7&quot;/&gt;&lt;/elem&gt;&lt;elem m_fUsage=&quot;9.00000000000000022204E-01&quot;&gt;&lt;m_msothmcolidx val=&quot;0&quot;/&gt;&lt;m_rgb r=&quot;00&quot; g=&quot;67&quot; b=&quot;7A&quot;/&gt;&lt;/elem&gt;&lt;elem m_fUsage=&quot;8.10000000000000053291E-01&quot;&gt;&lt;m_msothmcolidx val=&quot;0&quot;/&gt;&lt;m_rgb r=&quot;00&quot; g=&quot;B0&quot; b=&quot;5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AqB0l0.xwXJXHoFbg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.R8ffQHk79HKq4MY83w"/>
</p:tagLst>
</file>

<file path=ppt/theme/theme1.xml><?xml version="1.0" encoding="utf-8"?>
<a:theme xmlns:a="http://schemas.openxmlformats.org/drawingml/2006/main" name="CVA_official template 2024">
  <a:themeElements>
    <a:clrScheme name="CVA 2024 v2">
      <a:dk1>
        <a:srgbClr val="0A090C"/>
      </a:dk1>
      <a:lt1>
        <a:srgbClr val="FFFFFF"/>
      </a:lt1>
      <a:dk2>
        <a:srgbClr val="717A7C"/>
      </a:dk2>
      <a:lt2>
        <a:srgbClr val="92ACB7"/>
      </a:lt2>
      <a:accent1>
        <a:srgbClr val="051640"/>
      </a:accent1>
      <a:accent2>
        <a:srgbClr val="172759"/>
      </a:accent2>
      <a:accent3>
        <a:srgbClr val="20357A"/>
      </a:accent3>
      <a:accent4>
        <a:srgbClr val="1F6585"/>
      </a:accent4>
      <a:accent5>
        <a:srgbClr val="2885AE"/>
      </a:accent5>
      <a:accent6>
        <a:srgbClr val="00A1BF"/>
      </a:accent6>
      <a:hlink>
        <a:srgbClr val="CCDBE0"/>
      </a:hlink>
      <a:folHlink>
        <a:srgbClr val="EDF2F2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01</TotalTime>
  <Words>1</Words>
  <Application>Microsoft Office PowerPoint</Application>
  <PresentationFormat>Grand écran</PresentationFormat>
  <Paragraphs>1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ptos</vt:lpstr>
      <vt:lpstr>Arial</vt:lpstr>
      <vt:lpstr>Calibri</vt:lpstr>
      <vt:lpstr>CVA_official template 2024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olivier.thirifays@corporate-value.com</dc:creator>
  <cp:lastModifiedBy> </cp:lastModifiedBy>
  <cp:revision>355</cp:revision>
  <cp:lastPrinted>2022-06-28T10:21:18Z</cp:lastPrinted>
  <dcterms:created xsi:type="dcterms:W3CDTF">2021-04-01T14:01:36Z</dcterms:created>
  <dcterms:modified xsi:type="dcterms:W3CDTF">2025-02-09T09:33:04Z</dcterms:modified>
</cp:coreProperties>
</file>